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tags/tag3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6.xml" ContentType="application/vnd.openxmlformats-officedocument.presentationml.tags+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8.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9.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671203E1-8B4A-424B-B347-16F1DA3F801B}">
          <p14:sldIdLst>
            <p14:sldId id="2147475164"/>
          </p14:sldIdLst>
        </p14:section>
        <p14:section name="Innovation ranking" id="{5116A526-1190-4737-A1E5-AA91C6A03BEF}">
          <p14:sldIdLst>
            <p14:sldId id="2147475165"/>
            <p14:sldId id="2147475166"/>
            <p14:sldId id="2147475167"/>
            <p14:sldId id="2147475168"/>
            <p14:sldId id="2147475169"/>
            <p14:sldId id="2147475170"/>
            <p14:sldId id="2147475171"/>
          </p14:sldIdLst>
        </p14:section>
        <p14:section name="Innovation potential" id="{E49ACEF0-9A5F-4902-9E7A-BFCB6ABF7D05}">
          <p14:sldIdLst>
            <p14:sldId id="2147475172"/>
            <p14:sldId id="2147475173"/>
            <p14:sldId id="2147475174"/>
            <p14:sldId id="2147475175"/>
            <p14:sldId id="2147475176"/>
            <p14:sldId id="2147475177"/>
            <p14:sldId id="2147475178"/>
          </p14:sldIdLst>
        </p14:section>
        <p14:section name="Innovation sourcing" id="{E859851E-F8D1-4757-AF10-CDDB36C88677}">
          <p14:sldIdLst>
            <p14:sldId id="2147475179"/>
            <p14:sldId id="2147475180"/>
            <p14:sldId id="2147475181"/>
            <p14:sldId id="2147475182"/>
            <p14:sldId id="2147475183"/>
            <p14:sldId id="2147475184"/>
            <p14:sldId id="214747518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5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8.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8.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8.bin"/><Relationship Id="rId7" Type="http://schemas.openxmlformats.org/officeDocument/2006/relationships/chart" Target="../charts/chart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9504267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527785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840965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760317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335456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10149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97749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0661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693386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138832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54033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754265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9572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6371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2402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52490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859956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982596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692269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683329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0901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458000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99</Words>
  <Application>Microsoft Office PowerPoint</Application>
  <PresentationFormat>On-screen Show (16:9)</PresentationFormat>
  <Paragraphs>758</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5</cp:revision>
  <dcterms:created xsi:type="dcterms:W3CDTF">2024-07-08T12:20:01Z</dcterms:created>
  <dcterms:modified xsi:type="dcterms:W3CDTF">2025-07-31T08:2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